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8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18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rgbClr val="FF0000"/>
                </a:solidFill>
              </a:rPr>
              <a:t>INDEX</a:t>
            </a:r>
          </a:p>
          <a:p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3529" y="1099456"/>
            <a:ext cx="9780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0400" y="943593"/>
            <a:ext cx="9864000" cy="450000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7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3</cp:revision>
  <cp:lastPrinted>2017-08-08T07:27:09Z</cp:lastPrinted>
  <dcterms:created xsi:type="dcterms:W3CDTF">2015-06-10T12:48:40Z</dcterms:created>
  <dcterms:modified xsi:type="dcterms:W3CDTF">2025-10-18T12:02:04Z</dcterms:modified>
</cp:coreProperties>
</file>